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F4BE0A-E96A-445E-93E3-ABEC55D344B9}" v="47" dt="2019-10-18T10:21:49.93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0" d="100"/>
          <a:sy n="100" d="100"/>
        </p:scale>
        <p:origin x="87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ndriks, D. (Dennis)" userId="12a35667-054f-4150-b5f0-a68d2552ca47" providerId="ADAL" clId="{16F4BE0A-E96A-445E-93E3-ABEC55D344B9}"/>
    <pc:docChg chg="undo custSel addSld modSld">
      <pc:chgData name="Hendriks, D. (Dennis)" userId="12a35667-054f-4150-b5f0-a68d2552ca47" providerId="ADAL" clId="{16F4BE0A-E96A-445E-93E3-ABEC55D344B9}" dt="2019-10-18T10:22:14.324" v="665" actId="1035"/>
      <pc:docMkLst>
        <pc:docMk/>
      </pc:docMkLst>
      <pc:sldChg chg="addSp delSp modSp add">
        <pc:chgData name="Hendriks, D. (Dennis)" userId="12a35667-054f-4150-b5f0-a68d2552ca47" providerId="ADAL" clId="{16F4BE0A-E96A-445E-93E3-ABEC55D344B9}" dt="2019-10-18T10:22:14.324" v="665" actId="1035"/>
        <pc:sldMkLst>
          <pc:docMk/>
          <pc:sldMk cId="3598086083" sldId="256"/>
        </pc:sldMkLst>
        <pc:spChg chg="del">
          <ac:chgData name="Hendriks, D. (Dennis)" userId="12a35667-054f-4150-b5f0-a68d2552ca47" providerId="ADAL" clId="{16F4BE0A-E96A-445E-93E3-ABEC55D344B9}" dt="2019-10-18T09:57:51.748" v="1"/>
          <ac:spMkLst>
            <pc:docMk/>
            <pc:sldMk cId="3598086083" sldId="256"/>
            <ac:spMk id="2" creationId="{88D9F770-F096-4D99-B1DE-F17D46B7F24F}"/>
          </ac:spMkLst>
        </pc:spChg>
        <pc:spChg chg="del">
          <ac:chgData name="Hendriks, D. (Dennis)" userId="12a35667-054f-4150-b5f0-a68d2552ca47" providerId="ADAL" clId="{16F4BE0A-E96A-445E-93E3-ABEC55D344B9}" dt="2019-10-18T09:57:51.748" v="1"/>
          <ac:spMkLst>
            <pc:docMk/>
            <pc:sldMk cId="3598086083" sldId="256"/>
            <ac:spMk id="3" creationId="{3CB587FF-42AD-4231-B30D-33A83E42F4FE}"/>
          </ac:spMkLst>
        </pc:spChg>
        <pc:spChg chg="add mod topLvl">
          <ac:chgData name="Hendriks, D. (Dennis)" userId="12a35667-054f-4150-b5f0-a68d2552ca47" providerId="ADAL" clId="{16F4BE0A-E96A-445E-93E3-ABEC55D344B9}" dt="2019-10-18T10:21:49.933" v="643" actId="12789"/>
          <ac:spMkLst>
            <pc:docMk/>
            <pc:sldMk cId="3598086083" sldId="256"/>
            <ac:spMk id="4" creationId="{68C22BCA-1444-4A22-B2EB-6996002A9391}"/>
          </ac:spMkLst>
        </pc:spChg>
        <pc:spChg chg="add mod topLvl">
          <ac:chgData name="Hendriks, D. (Dennis)" userId="12a35667-054f-4150-b5f0-a68d2552ca47" providerId="ADAL" clId="{16F4BE0A-E96A-445E-93E3-ABEC55D344B9}" dt="2019-10-18T10:21:49.933" v="643" actId="12789"/>
          <ac:spMkLst>
            <pc:docMk/>
            <pc:sldMk cId="3598086083" sldId="256"/>
            <ac:spMk id="5" creationId="{E330F3F1-61F1-400C-B06A-365CC145CDD7}"/>
          </ac:spMkLst>
        </pc:spChg>
        <pc:spChg chg="add mod">
          <ac:chgData name="Hendriks, D. (Dennis)" userId="12a35667-054f-4150-b5f0-a68d2552ca47" providerId="ADAL" clId="{16F4BE0A-E96A-445E-93E3-ABEC55D344B9}" dt="2019-10-18T10:21:39.106" v="642" actId="1035"/>
          <ac:spMkLst>
            <pc:docMk/>
            <pc:sldMk cId="3598086083" sldId="256"/>
            <ac:spMk id="6" creationId="{991FFB20-92DA-4395-8A72-34DC7123EB19}"/>
          </ac:spMkLst>
        </pc:spChg>
        <pc:spChg chg="add mod">
          <ac:chgData name="Hendriks, D. (Dennis)" userId="12a35667-054f-4150-b5f0-a68d2552ca47" providerId="ADAL" clId="{16F4BE0A-E96A-445E-93E3-ABEC55D344B9}" dt="2019-10-18T10:21:35.310" v="640" actId="1036"/>
          <ac:spMkLst>
            <pc:docMk/>
            <pc:sldMk cId="3598086083" sldId="256"/>
            <ac:spMk id="7" creationId="{202A5B74-9073-4BC7-9404-603AA954758B}"/>
          </ac:spMkLst>
        </pc:spChg>
        <pc:spChg chg="add mod ord">
          <ac:chgData name="Hendriks, D. (Dennis)" userId="12a35667-054f-4150-b5f0-a68d2552ca47" providerId="ADAL" clId="{16F4BE0A-E96A-445E-93E3-ABEC55D344B9}" dt="2019-10-18T10:21:19.684" v="629" actId="14100"/>
          <ac:spMkLst>
            <pc:docMk/>
            <pc:sldMk cId="3598086083" sldId="256"/>
            <ac:spMk id="8" creationId="{4EC645A8-1B3B-454A-A8DA-9D5F2129A3DE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15" creationId="{1F7AEBF5-F2C3-47ED-92A1-A3FEEE1AFFB4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21" creationId="{5ACCEE87-F4F0-42D2-B6FA-B2BB10395B11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2" creationId="{BB873152-A2C0-44A9-9941-231C9994F700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3" creationId="{C6F89564-5B47-4C0C-B023-91BFDEC0ED29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4" creationId="{2D49ECF5-3B1E-41AF-AB6D-894B563B470D}"/>
          </ac:spMkLst>
        </pc:spChg>
        <pc:spChg chg="add mod topLvl">
          <ac:chgData name="Hendriks, D. (Dennis)" userId="12a35667-054f-4150-b5f0-a68d2552ca47" providerId="ADAL" clId="{16F4BE0A-E96A-445E-93E3-ABEC55D344B9}" dt="2019-10-18T10:22:14.324" v="665" actId="1035"/>
          <ac:spMkLst>
            <pc:docMk/>
            <pc:sldMk cId="3598086083" sldId="256"/>
            <ac:spMk id="25" creationId="{C8E54EBA-8AC5-4BA6-922C-DE5FD77F0F94}"/>
          </ac:spMkLst>
        </pc:spChg>
        <pc:spChg chg="add del mod">
          <ac:chgData name="Hendriks, D. (Dennis)" userId="12a35667-054f-4150-b5f0-a68d2552ca47" providerId="ADAL" clId="{16F4BE0A-E96A-445E-93E3-ABEC55D344B9}" dt="2019-10-18T10:10:39.642" v="517" actId="478"/>
          <ac:spMkLst>
            <pc:docMk/>
            <pc:sldMk cId="3598086083" sldId="256"/>
            <ac:spMk id="26" creationId="{7046C41E-1770-40E2-BE37-49770550F877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27" creationId="{60C6AB47-30AE-4F52-9EDE-12D57CD36022}"/>
          </ac:spMkLst>
        </pc:spChg>
        <pc:spChg chg="add del mod topLvl">
          <ac:chgData name="Hendriks, D. (Dennis)" userId="12a35667-054f-4150-b5f0-a68d2552ca47" providerId="ADAL" clId="{16F4BE0A-E96A-445E-93E3-ABEC55D344B9}" dt="2019-10-18T10:12:04.536" v="545" actId="478"/>
          <ac:spMkLst>
            <pc:docMk/>
            <pc:sldMk cId="3598086083" sldId="256"/>
            <ac:spMk id="28" creationId="{90DEAB87-7343-4D62-9E57-0BF15BF581AE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30" creationId="{82051D12-3235-4243-8F00-0FD9A00AF0FD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31" creationId="{2F5D1E02-2959-4FDD-BD15-637301D6D9EB}"/>
          </ac:spMkLst>
        </pc:spChg>
        <pc:spChg chg="add mod topLvl">
          <ac:chgData name="Hendriks, D. (Dennis)" userId="12a35667-054f-4150-b5f0-a68d2552ca47" providerId="ADAL" clId="{16F4BE0A-E96A-445E-93E3-ABEC55D344B9}" dt="2019-10-18T10:22:02.619" v="655" actId="1036"/>
          <ac:spMkLst>
            <pc:docMk/>
            <pc:sldMk cId="3598086083" sldId="256"/>
            <ac:spMk id="33" creationId="{84BBDCC7-2109-47CA-AD58-91485292246D}"/>
          </ac:spMkLst>
        </pc:spChg>
        <pc:grpChg chg="add mod topLvl">
          <ac:chgData name="Hendriks, D. (Dennis)" userId="12a35667-054f-4150-b5f0-a68d2552ca47" providerId="ADAL" clId="{16F4BE0A-E96A-445E-93E3-ABEC55D344B9}" dt="2019-10-18T10:21:49.933" v="643" actId="12789"/>
          <ac:grpSpMkLst>
            <pc:docMk/>
            <pc:sldMk cId="3598086083" sldId="256"/>
            <ac:grpSpMk id="9" creationId="{9D42AB60-A716-4B25-95EF-5912C27D2184}"/>
          </ac:grpSpMkLst>
        </pc:grpChg>
        <pc:grpChg chg="add del mod">
          <ac:chgData name="Hendriks, D. (Dennis)" userId="12a35667-054f-4150-b5f0-a68d2552ca47" providerId="ADAL" clId="{16F4BE0A-E96A-445E-93E3-ABEC55D344B9}" dt="2019-10-18T10:11:44.248" v="540" actId="165"/>
          <ac:grpSpMkLst>
            <pc:docMk/>
            <pc:sldMk cId="3598086083" sldId="256"/>
            <ac:grpSpMk id="29" creationId="{45C08ECA-8351-4087-86A5-12E2D156ED0C}"/>
          </ac:grpSpMkLst>
        </pc:grpChg>
        <pc:grpChg chg="add del mod">
          <ac:chgData name="Hendriks, D. (Dennis)" userId="12a35667-054f-4150-b5f0-a68d2552ca47" providerId="ADAL" clId="{16F4BE0A-E96A-445E-93E3-ABEC55D344B9}" dt="2019-10-18T10:12:38.049" v="561" actId="165"/>
          <ac:grpSpMkLst>
            <pc:docMk/>
            <pc:sldMk cId="3598086083" sldId="256"/>
            <ac:grpSpMk id="32" creationId="{F4DBAAFF-A5AD-433E-A866-19362690E41F}"/>
          </ac:grpSpMkLst>
        </pc:grpChg>
        <pc:grpChg chg="add del mod">
          <ac:chgData name="Hendriks, D. (Dennis)" userId="12a35667-054f-4150-b5f0-a68d2552ca47" providerId="ADAL" clId="{16F4BE0A-E96A-445E-93E3-ABEC55D344B9}" dt="2019-10-18T10:19:51.186" v="613" actId="165"/>
          <ac:grpSpMkLst>
            <pc:docMk/>
            <pc:sldMk cId="3598086083" sldId="256"/>
            <ac:grpSpMk id="34" creationId="{14F77ABE-425C-4297-93F9-022394809856}"/>
          </ac:grpSpMkLst>
        </pc:grpChg>
        <pc:cxnChg chg="add mod topLvl">
          <ac:chgData name="Hendriks, D. (Dennis)" userId="12a35667-054f-4150-b5f0-a68d2552ca47" providerId="ADAL" clId="{16F4BE0A-E96A-445E-93E3-ABEC55D344B9}" dt="2019-10-18T10:21:49.933" v="643" actId="12789"/>
          <ac:cxnSpMkLst>
            <pc:docMk/>
            <pc:sldMk cId="3598086083" sldId="256"/>
            <ac:cxnSpMk id="11" creationId="{DD32408C-5812-4E17-B49A-06F0CE703B5A}"/>
          </ac:cxnSpMkLst>
        </pc:cxnChg>
        <pc:cxnChg chg="add mod topLvl">
          <ac:chgData name="Hendriks, D. (Dennis)" userId="12a35667-054f-4150-b5f0-a68d2552ca47" providerId="ADAL" clId="{16F4BE0A-E96A-445E-93E3-ABEC55D344B9}" dt="2019-10-18T10:21:49.933" v="643" actId="12789"/>
          <ac:cxnSpMkLst>
            <pc:docMk/>
            <pc:sldMk cId="3598086083" sldId="256"/>
            <ac:cxnSpMk id="12" creationId="{54AE6C1B-AF52-4ED1-9046-7255D37CB114}"/>
          </ac:cxnSpMkLst>
        </pc:cxn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88BCD-0F62-44E3-AD89-B5250089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40A915-31D2-48FC-9046-8FE5F4FE8C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10659F-A3AE-4885-A09E-445CF1BE01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5C1E0A-F501-4599-8809-0642C01D4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3E13A3-59F6-4A6B-8F65-A13E5F12B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492179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E9301-D952-403F-B1CA-F6DA0DBDE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C6D67E-9406-4FBF-9957-609853A125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F33E54-1652-4790-AAEC-FF8F26B3B9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7B7FF2-57C9-4AB8-A1FB-1F51DF283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C5DC5B-A8FA-414A-B4FB-2ECFC6505C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626142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1C0193-57AF-423F-87EE-A26A2098A0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D7F08F-BCA1-42E6-863D-9367520609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4A6B7C-5391-4B05-95B2-FEF29D6233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5C7AFB-49EE-4663-B4D3-E06191811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797199-63EF-4973-A47B-FE586B66B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459649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16A2A-B0E0-4B10-891D-AC469D4A2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5D98DF-01A2-4A0F-A23E-FD22614B4F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D44969-9679-4C89-A080-B3703DC73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C06CB1-FBC5-4E6F-9009-F7D96E138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8D694-D435-42E3-BCFC-DC54560D7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541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A26D76-7A28-4B8C-98B4-6C6BE1E1A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40068D-1B06-47F0-B04B-6BD2E7568A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FA32CA-249F-4822-9E6F-806007A84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E81827-523D-4803-98C9-F706ED682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A01C1-C940-44AE-9A71-877C748D9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26277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F8684B-3930-480D-8427-BE448888C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876E69-E9CC-471A-9C91-291C1D8691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4D24DD-25D6-4592-92E4-5CF487B2D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A8BCA4-527A-4FD6-97CE-356296885B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2C45CF-9A2A-469C-9B0E-287DA3AA7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450F93-0F08-465B-86E5-81B8C60BC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310871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6FCCE-8E13-4656-9B96-B53C1DE2D9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7C20C9-48A9-45EE-99C4-48BCE048AE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DD2F15-7EE2-4975-8B96-6B82D0098C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DE2719-A2A2-493F-83DC-2B4E1D0D67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7E4D25C-95C5-49F2-BD71-FA8386A1001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4811A2-D302-42BC-829F-E22C51603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A8C666-092A-4869-85CC-B01E23F72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B8B8F9-1F85-4BCA-98D6-F1B2EFE90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99981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ED061-B751-4F44-8D72-3950344F4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01A527-899F-4640-9A12-6E443B81D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5236E2-97E3-4B12-9302-AE2478D0A7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C46D35-C01D-43D2-94C1-94FD3A4084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118718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5305D7-DF2F-4812-AEE0-E92AE389A3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F00B34-AAB8-4A8A-912F-B9FE6BD15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567F8F-2BB5-4503-89BA-7C4B48B4E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654485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8C11FD-99DD-4115-912D-1615CCCE7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39C599-D48B-4C71-B9F3-C7D00D7634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EA9456-64A6-42DD-95AA-55ADA58F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76AA37-9686-4D57-8DFB-6D01585F1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082DB6-3F66-4B9F-9853-C20583D8F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839EA6-3649-438B-A672-EA40B77D2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65190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9C3C6-CBA4-484F-AC91-CDDC16D2D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1C9DF7-EC7B-4A6F-A916-C7EEB99E5E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0CB793-0E9A-4F47-8ED4-86BDEA6510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171EA6-32F3-4084-8773-832DC5B67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227A20-436B-45A4-9714-AC424CA17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447193-3AE7-4DA2-ACD2-275D46AAF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86345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E8C69A-D1E3-4AA2-B259-312458E232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F4638-93B3-4280-A0CC-8B3D42DC2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FDCD6E-5895-475B-9EF8-B54B640F39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65D5E7-AD3D-4631-AD8E-298F87323C43}" type="datetimeFigureOut">
              <a:rPr lang="nl-NL" smtClean="0"/>
              <a:t>13-3-2022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4BA271-9751-4899-955C-1F741D8968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5F9740-195C-425F-8226-A09C85DB3C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BFB933-CCD9-4F98-859C-34551F2CE9D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0601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8C22BCA-1444-4A22-B2EB-6996002A9391}"/>
              </a:ext>
            </a:extLst>
          </p:cNvPr>
          <p:cNvSpPr/>
          <p:nvPr/>
        </p:nvSpPr>
        <p:spPr>
          <a:xfrm>
            <a:off x="9775882" y="2643108"/>
            <a:ext cx="2340000" cy="108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000">
                <a:solidFill>
                  <a:sysClr val="windowText" lastClr="000000"/>
                </a:solidFill>
              </a:rPr>
              <a:t>Implementation of the controller (control software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330F3F1-61F1-400C-B06A-365CC145CDD7}"/>
              </a:ext>
            </a:extLst>
          </p:cNvPr>
          <p:cNvSpPr/>
          <p:nvPr/>
        </p:nvSpPr>
        <p:spPr>
          <a:xfrm>
            <a:off x="5233999" y="2643108"/>
            <a:ext cx="2340000" cy="108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000">
                <a:solidFill>
                  <a:sysClr val="windowText" lastClr="000000"/>
                </a:solidFill>
              </a:rPr>
              <a:t>Controller model (supervisor model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D42AB60-A716-4B25-95EF-5912C27D2184}"/>
              </a:ext>
            </a:extLst>
          </p:cNvPr>
          <p:cNvGrpSpPr/>
          <p:nvPr/>
        </p:nvGrpSpPr>
        <p:grpSpPr>
          <a:xfrm>
            <a:off x="120088" y="1418590"/>
            <a:ext cx="2700000" cy="3529037"/>
            <a:chOff x="1861339" y="1636350"/>
            <a:chExt cx="2700000" cy="3529037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4EC645A8-1B3B-454A-A8DA-9D5F2129A3DE}"/>
                </a:ext>
              </a:extLst>
            </p:cNvPr>
            <p:cNvSpPr/>
            <p:nvPr/>
          </p:nvSpPr>
          <p:spPr>
            <a:xfrm>
              <a:off x="1861339" y="1636350"/>
              <a:ext cx="2700000" cy="352903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algn="ctr"/>
              <a:r>
                <a:rPr lang="en-US" sz="2000">
                  <a:solidFill>
                    <a:sysClr val="windowText" lastClr="000000"/>
                  </a:solidFill>
                </a:rPr>
                <a:t>Model-based specification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991FFB20-92DA-4395-8A72-34DC7123EB19}"/>
                </a:ext>
              </a:extLst>
            </p:cNvPr>
            <p:cNvSpPr/>
            <p:nvPr/>
          </p:nvSpPr>
          <p:spPr>
            <a:xfrm>
              <a:off x="2051281" y="2570783"/>
              <a:ext cx="2340000" cy="108000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2000" dirty="0">
                  <a:solidFill>
                    <a:sysClr val="windowText" lastClr="000000"/>
                  </a:solidFill>
                </a:rPr>
                <a:t>Model of uncontrolled system  (plant model)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202A5B74-9073-4BC7-9404-603AA954758B}"/>
                </a:ext>
              </a:extLst>
            </p:cNvPr>
            <p:cNvSpPr/>
            <p:nvPr/>
          </p:nvSpPr>
          <p:spPr>
            <a:xfrm>
              <a:off x="2051281" y="3792000"/>
              <a:ext cx="2340000" cy="1204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2000" dirty="0">
                  <a:solidFill>
                    <a:sysClr val="windowText" lastClr="000000"/>
                  </a:solidFill>
                </a:rPr>
                <a:t>Model of control  requirements (requirements model)</a:t>
              </a:r>
            </a:p>
          </p:txBody>
        </p:sp>
      </p:grp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D32408C-5812-4E17-B49A-06F0CE703B5A}"/>
              </a:ext>
            </a:extLst>
          </p:cNvPr>
          <p:cNvCxnSpPr>
            <a:cxnSpLocks/>
            <a:stCxn id="8" idx="3"/>
            <a:endCxn id="5" idx="1"/>
          </p:cNvCxnSpPr>
          <p:nvPr/>
        </p:nvCxnSpPr>
        <p:spPr>
          <a:xfrm flipV="1">
            <a:off x="2820088" y="3183108"/>
            <a:ext cx="2413911" cy="1"/>
          </a:xfrm>
          <a:prstGeom prst="straightConnector1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4AE6C1B-AF52-4ED1-9046-7255D37CB114}"/>
              </a:ext>
            </a:extLst>
          </p:cNvPr>
          <p:cNvCxnSpPr>
            <a:cxnSpLocks/>
            <a:stCxn id="5" idx="3"/>
            <a:endCxn id="4" idx="1"/>
          </p:cNvCxnSpPr>
          <p:nvPr/>
        </p:nvCxnSpPr>
        <p:spPr>
          <a:xfrm>
            <a:off x="7573999" y="3183108"/>
            <a:ext cx="2201883" cy="0"/>
          </a:xfrm>
          <a:prstGeom prst="straightConnector1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F7AEBF5-F2C3-47ED-92A1-A3FEEE1AFFB4}"/>
              </a:ext>
            </a:extLst>
          </p:cNvPr>
          <p:cNvSpPr txBox="1"/>
          <p:nvPr/>
        </p:nvSpPr>
        <p:spPr>
          <a:xfrm>
            <a:off x="2818314" y="2134792"/>
            <a:ext cx="241391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/>
              <a:t>Supervisor synthesis</a:t>
            </a:r>
          </a:p>
          <a:p>
            <a:pPr algn="ctr"/>
            <a:r>
              <a:rPr lang="en-US" sz="2000"/>
              <a:t>(supervisory</a:t>
            </a:r>
          </a:p>
          <a:p>
            <a:pPr algn="ctr"/>
            <a:r>
              <a:rPr lang="en-US" sz="2000"/>
              <a:t>controller synthesis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ACCEE87-F4F0-42D2-B6FA-B2BB10395B11}"/>
              </a:ext>
            </a:extLst>
          </p:cNvPr>
          <p:cNvSpPr txBox="1"/>
          <p:nvPr/>
        </p:nvSpPr>
        <p:spPr>
          <a:xfrm>
            <a:off x="7573999" y="2134792"/>
            <a:ext cx="22018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Manual implementation or code generation</a:t>
            </a:r>
          </a:p>
        </p:txBody>
      </p:sp>
      <p:sp>
        <p:nvSpPr>
          <p:cNvPr id="22" name="Left Bracket 21">
            <a:extLst>
              <a:ext uri="{FF2B5EF4-FFF2-40B4-BE49-F238E27FC236}">
                <a16:creationId xmlns:a16="http://schemas.microsoft.com/office/drawing/2014/main" id="{BB873152-A2C0-44A9-9941-231C9994F700}"/>
              </a:ext>
            </a:extLst>
          </p:cNvPr>
          <p:cNvSpPr/>
          <p:nvPr/>
        </p:nvSpPr>
        <p:spPr>
          <a:xfrm rot="16200000">
            <a:off x="3552709" y="1588915"/>
            <a:ext cx="291771" cy="7157011"/>
          </a:xfrm>
          <a:prstGeom prst="leftBracket">
            <a:avLst/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3" name="Left Bracket 22">
            <a:extLst>
              <a:ext uri="{FF2B5EF4-FFF2-40B4-BE49-F238E27FC236}">
                <a16:creationId xmlns:a16="http://schemas.microsoft.com/office/drawing/2014/main" id="{C6F89564-5B47-4C0C-B023-91BFDEC0ED29}"/>
              </a:ext>
            </a:extLst>
          </p:cNvPr>
          <p:cNvSpPr/>
          <p:nvPr/>
        </p:nvSpPr>
        <p:spPr>
          <a:xfrm rot="16200000">
            <a:off x="9609056" y="2806480"/>
            <a:ext cx="291771" cy="4721881"/>
          </a:xfrm>
          <a:prstGeom prst="leftBracket">
            <a:avLst/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D49ECF5-3B1E-41AF-AB6D-894B563B470D}"/>
              </a:ext>
            </a:extLst>
          </p:cNvPr>
          <p:cNvSpPr txBox="1"/>
          <p:nvPr/>
        </p:nvSpPr>
        <p:spPr>
          <a:xfrm>
            <a:off x="120089" y="5346388"/>
            <a:ext cx="71570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/>
              <a:t>Design (specification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E54EBA-8AC5-4BA6-922C-DE5FD77F0F94}"/>
              </a:ext>
            </a:extLst>
          </p:cNvPr>
          <p:cNvSpPr txBox="1"/>
          <p:nvPr/>
        </p:nvSpPr>
        <p:spPr>
          <a:xfrm>
            <a:off x="7394000" y="5346388"/>
            <a:ext cx="47218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/>
              <a:t>Realization (implementation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2051D12-3235-4243-8F00-0FD9A00AF0FD}"/>
              </a:ext>
            </a:extLst>
          </p:cNvPr>
          <p:cNvSpPr txBox="1"/>
          <p:nvPr/>
        </p:nvSpPr>
        <p:spPr>
          <a:xfrm>
            <a:off x="5787633" y="1544694"/>
            <a:ext cx="12291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Validation</a:t>
            </a:r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60C6AB47-30AE-4F52-9EDE-12D57CD36022}"/>
              </a:ext>
            </a:extLst>
          </p:cNvPr>
          <p:cNvSpPr/>
          <p:nvPr/>
        </p:nvSpPr>
        <p:spPr>
          <a:xfrm>
            <a:off x="6190639" y="1976287"/>
            <a:ext cx="423171" cy="740987"/>
          </a:xfrm>
          <a:prstGeom prst="arc">
            <a:avLst>
              <a:gd name="adj1" fmla="val 6750521"/>
              <a:gd name="adj2" fmla="val 4103113"/>
            </a:avLst>
          </a:prstGeom>
          <a:noFill/>
          <a:ln w="38100"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3598086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/////wQAPw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mSH2cK0/9Dp2M2+X33V50FAAAAAAADAAAAAAADAAAAAwADAAIA////////BAAAAAMAEAALe4HWxSnLq0mpBX/W022spgUAAAABAAMAAAACAAMAAAAB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AEDAAAAAwD///////8lAAZMaW5rZWRTaGFwZVByZXNlbnRhdGlvblNldHRpbmdzRGF0YV8wBQAAAAEABAAAAAAABAAAAAIA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mSH2cK0/9Dp2M2+X33V50DRGF0YQAbAAAABExpbmtlZFNoYXBlRGF0YQAFAAAAAAACTmFtZQAZAAAATGlua2VkU2hhcGVzRGF0YVByb3BlcnR5ABBWZXJzaW9uAAAAAAAJTGFzdFdyaXRlAB6JHoN/AQAAAAEA/////8YAxgAAAAVfaWQAEAAAAAR7gdbFKcurSakFf9bTbaymA0RhdGEAUwAAAAhQcmVzZW50YXRpb25TY2FubmVkRm9yTGlua2VkU2hhcGVzAAECTnVtYmVyRm9ybWF0U2VwYXJhdG9yTW9kZQAKAAAAQXV0b21hdGljAAACTmFtZQAkAAAATGlua2VkU2hhcGVQcmVzZW50YXRpb25TZXR0aW5nc0RhdGEAEFZlcnNpb24AAAAAAAlMYXN0V3JpdGUAXIkeg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</TotalTime>
  <Words>53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Dennis Hendriks - DHFS</cp:lastModifiedBy>
  <cp:revision>7</cp:revision>
  <dcterms:created xsi:type="dcterms:W3CDTF">2019-10-18T09:57:42Z</dcterms:created>
  <dcterms:modified xsi:type="dcterms:W3CDTF">2022-03-13T16:28:21Z</dcterms:modified>
</cp:coreProperties>
</file>